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4"/>
  </p:notesMasterIdLst>
  <p:sldIdLst>
    <p:sldId id="270" r:id="rId4"/>
    <p:sldId id="289" r:id="rId5"/>
    <p:sldId id="299" r:id="rId6"/>
    <p:sldId id="303" r:id="rId7"/>
    <p:sldId id="290" r:id="rId8"/>
    <p:sldId id="300" r:id="rId9"/>
    <p:sldId id="292" r:id="rId10"/>
    <p:sldId id="293" r:id="rId11"/>
    <p:sldId id="297" r:id="rId12"/>
    <p:sldId id="302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673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1408157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000" b="1" dirty="0">
                <a:solidFill>
                  <a:schemeClr val="bg1"/>
                </a:solidFill>
                <a:latin typeface="Bentley Light" panose="020B0404020201020102"/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000" b="1" dirty="0">
                <a:solidFill>
                  <a:schemeClr val="bg1"/>
                </a:solidFill>
                <a:latin typeface="Bentley Light" panose="020B0404020201020102"/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000" b="1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000" b="1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0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0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en-US" altLang="zh-CN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4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77281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活动名称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人员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Actual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实际情况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Plan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计划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参与人数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DCPID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客户数量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每条线索成本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 of 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72872646"/>
              </p:ext>
            </p:extLst>
          </p:nvPr>
        </p:nvGraphicFramePr>
        <p:xfrm>
          <a:off x="587375" y="5211029"/>
          <a:ext cx="11032368" cy="81049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aseline="0" dirty="0"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611000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156257"/>
              </p:ext>
            </p:extLst>
          </p:nvPr>
        </p:nvGraphicFramePr>
        <p:xfrm>
          <a:off x="544314" y="1551213"/>
          <a:ext cx="11048526" cy="76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Budget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86146"/>
              </p:ext>
            </p:extLst>
          </p:nvPr>
        </p:nvGraphicFramePr>
        <p:xfrm>
          <a:off x="571210" y="3162169"/>
          <a:ext cx="11048533" cy="217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Plan</a:t>
                      </a:r>
                      <a:r>
                        <a:rPr lang="en-US" altLang="zh-CN" sz="1000" b="1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 </a:t>
                      </a:r>
                      <a:r>
                        <a:rPr lang="en-US" altLang="zh-CN" sz="1000" b="1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Budget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是否报销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报销项目参考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77241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仪式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清单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6198213"/>
              </p:ext>
            </p:extLst>
          </p:nvPr>
        </p:nvGraphicFramePr>
        <p:xfrm>
          <a:off x="587141" y="1234463"/>
          <a:ext cx="11032602" cy="5248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要流程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2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3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4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5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6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7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8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494381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9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603687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0</a:t>
                      </a: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8310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151513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539015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车辆照片</a:t>
            </a:r>
            <a:endParaRPr lang="zh-CN" altLang="en-US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7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lvl="0"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255883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0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</TotalTime>
  <Words>475</Words>
  <Application>Microsoft Office PowerPoint</Application>
  <PresentationFormat>宽屏</PresentationFormat>
  <Paragraphs>133</Paragraphs>
  <Slides>10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2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59</cp:revision>
  <dcterms:created xsi:type="dcterms:W3CDTF">2022-02-15T07:41:51Z</dcterms:created>
  <dcterms:modified xsi:type="dcterms:W3CDTF">2022-05-05T02:52:50Z</dcterms:modified>
</cp:coreProperties>
</file>